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44" r:id="rId1"/>
    <p:sldMasterId id="2147483760" r:id="rId2"/>
    <p:sldMasterId id="2147483773" r:id="rId3"/>
    <p:sldMasterId id="2147483785" r:id="rId4"/>
    <p:sldMasterId id="2147483839" r:id="rId5"/>
  </p:sldMasterIdLst>
  <p:notesMasterIdLst>
    <p:notesMasterId r:id="rId20"/>
  </p:notesMasterIdLst>
  <p:handoutMasterIdLst>
    <p:handoutMasterId r:id="rId21"/>
  </p:handoutMasterIdLst>
  <p:sldIdLst>
    <p:sldId id="3573" r:id="rId6"/>
    <p:sldId id="4263" r:id="rId7"/>
    <p:sldId id="4260" r:id="rId8"/>
    <p:sldId id="4261" r:id="rId9"/>
    <p:sldId id="4267" r:id="rId10"/>
    <p:sldId id="4268" r:id="rId11"/>
    <p:sldId id="4269" r:id="rId12"/>
    <p:sldId id="3866" r:id="rId13"/>
    <p:sldId id="3867" r:id="rId14"/>
    <p:sldId id="3868" r:id="rId15"/>
    <p:sldId id="4250" r:id="rId16"/>
    <p:sldId id="4251" r:id="rId17"/>
    <p:sldId id="4265" r:id="rId18"/>
    <p:sldId id="4266" r:id="rId19"/>
  </p:sldIdLst>
  <p:sldSz cx="12192000" cy="6858000"/>
  <p:notesSz cx="6858000" cy="9945688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lores Guion" initials="DG" lastIdx="1" clrIdx="0">
    <p:extLst>
      <p:ext uri="{19B8F6BF-5375-455C-9EA6-DF929625EA0E}">
        <p15:presenceInfo xmlns:p15="http://schemas.microsoft.com/office/powerpoint/2012/main" userId="Dolores Guion" providerId="None"/>
      </p:ext>
    </p:extLst>
  </p:cmAuthor>
  <p:cmAuthor id="2" name="Peter Devos" initials="PD" lastIdx="2" clrIdx="1">
    <p:extLst>
      <p:ext uri="{19B8F6BF-5375-455C-9EA6-DF929625EA0E}">
        <p15:presenceInfo xmlns:p15="http://schemas.microsoft.com/office/powerpoint/2012/main" userId="Peter Devos" providerId="None"/>
      </p:ext>
    </p:extLst>
  </p:cmAuthor>
  <p:cmAuthor id="3" name="Dolores Guion" initials="DG [2]" lastIdx="1" clrIdx="2">
    <p:extLst>
      <p:ext uri="{19B8F6BF-5375-455C-9EA6-DF929625EA0E}">
        <p15:presenceInfo xmlns:p15="http://schemas.microsoft.com/office/powerpoint/2012/main" userId="S::dolores.guion@ecta.com::c52261d3-ab24-471e-b35e-2fa1fa0bdfc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D0D8E8"/>
    <a:srgbClr val="072C62"/>
    <a:srgbClr val="FFFFFF"/>
    <a:srgbClr val="2068AE"/>
    <a:srgbClr val="19ACD8"/>
    <a:srgbClr val="009D43"/>
    <a:srgbClr val="92C039"/>
    <a:srgbClr val="EE8720"/>
    <a:srgbClr val="3D47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235" autoAdjust="0"/>
    <p:restoredTop sz="81633" autoAdjust="0"/>
  </p:normalViewPr>
  <p:slideViewPr>
    <p:cSldViewPr>
      <p:cViewPr varScale="1">
        <p:scale>
          <a:sx n="59" d="100"/>
          <a:sy n="59" d="100"/>
        </p:scale>
        <p:origin x="636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3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tal Number of Incid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6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F$5:$H$5</c:f>
              <c:strCache>
                <c:ptCount val="3"/>
                <c:pt idx="0">
                  <c:v>Transit</c:v>
                </c:pt>
                <c:pt idx="1">
                  <c:v>Loading</c:v>
                </c:pt>
                <c:pt idx="2">
                  <c:v>Unloading</c:v>
                </c:pt>
              </c:strCache>
            </c:strRef>
          </c:cat>
          <c:val>
            <c:numRef>
              <c:f>Sheet1!$F$6:$H$6</c:f>
              <c:numCache>
                <c:formatCode>General</c:formatCode>
                <c:ptCount val="3"/>
                <c:pt idx="0">
                  <c:v>409</c:v>
                </c:pt>
                <c:pt idx="1">
                  <c:v>167</c:v>
                </c:pt>
                <c:pt idx="2">
                  <c:v>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27-4B13-ACAA-188077B91BCB}"/>
            </c:ext>
          </c:extLst>
        </c:ser>
        <c:ser>
          <c:idx val="1"/>
          <c:order val="1"/>
          <c:tx>
            <c:strRef>
              <c:f>Sheet1!$E$7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F$5:$H$5</c:f>
              <c:strCache>
                <c:ptCount val="3"/>
                <c:pt idx="0">
                  <c:v>Transit</c:v>
                </c:pt>
                <c:pt idx="1">
                  <c:v>Loading</c:v>
                </c:pt>
                <c:pt idx="2">
                  <c:v>Unloading</c:v>
                </c:pt>
              </c:strCache>
            </c:strRef>
          </c:cat>
          <c:val>
            <c:numRef>
              <c:f>Sheet1!$F$7:$H$7</c:f>
              <c:numCache>
                <c:formatCode>General</c:formatCode>
                <c:ptCount val="3"/>
                <c:pt idx="0">
                  <c:v>571</c:v>
                </c:pt>
                <c:pt idx="1">
                  <c:v>223</c:v>
                </c:pt>
                <c:pt idx="2">
                  <c:v>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27-4B13-ACAA-188077B91BCB}"/>
            </c:ext>
          </c:extLst>
        </c:ser>
        <c:ser>
          <c:idx val="2"/>
          <c:order val="2"/>
          <c:tx>
            <c:strRef>
              <c:f>Sheet1!$E$8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F$5:$H$5</c:f>
              <c:strCache>
                <c:ptCount val="3"/>
                <c:pt idx="0">
                  <c:v>Transit</c:v>
                </c:pt>
                <c:pt idx="1">
                  <c:v>Loading</c:v>
                </c:pt>
                <c:pt idx="2">
                  <c:v>Unloading</c:v>
                </c:pt>
              </c:strCache>
            </c:strRef>
          </c:cat>
          <c:val>
            <c:numRef>
              <c:f>Sheet1!$F$8:$H$8</c:f>
              <c:numCache>
                <c:formatCode>General</c:formatCode>
                <c:ptCount val="3"/>
                <c:pt idx="0">
                  <c:v>365</c:v>
                </c:pt>
                <c:pt idx="1">
                  <c:v>157</c:v>
                </c:pt>
                <c:pt idx="2">
                  <c:v>3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27-4B13-ACAA-188077B91B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70712520"/>
        <c:axId val="770710552"/>
      </c:barChart>
      <c:catAx>
        <c:axId val="770712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0710552"/>
        <c:crosses val="autoZero"/>
        <c:auto val="1"/>
        <c:lblAlgn val="ctr"/>
        <c:lblOffset val="100"/>
        <c:noMultiLvlLbl val="0"/>
      </c:catAx>
      <c:valAx>
        <c:axId val="770710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0712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umber of Injury Incid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24</c:f>
              <c:strCache>
                <c:ptCount val="1"/>
                <c:pt idx="0">
                  <c:v>2018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Sheet1!$F$23:$H$23</c:f>
              <c:strCache>
                <c:ptCount val="3"/>
                <c:pt idx="0">
                  <c:v>Transit</c:v>
                </c:pt>
                <c:pt idx="1">
                  <c:v>Loading</c:v>
                </c:pt>
                <c:pt idx="2">
                  <c:v>Unloading</c:v>
                </c:pt>
              </c:strCache>
            </c:strRef>
          </c:cat>
          <c:val>
            <c:numRef>
              <c:f>Sheet1!$F$24:$H$24</c:f>
              <c:numCache>
                <c:formatCode>General</c:formatCode>
                <c:ptCount val="3"/>
                <c:pt idx="0">
                  <c:v>78</c:v>
                </c:pt>
                <c:pt idx="1">
                  <c:v>56</c:v>
                </c:pt>
                <c:pt idx="2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06-4CB9-89D4-1F3E93848F91}"/>
            </c:ext>
          </c:extLst>
        </c:ser>
        <c:ser>
          <c:idx val="1"/>
          <c:order val="1"/>
          <c:tx>
            <c:strRef>
              <c:f>Sheet1!$E$25</c:f>
              <c:strCache>
                <c:ptCount val="1"/>
                <c:pt idx="0">
                  <c:v>2019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Sheet1!$F$23:$H$23</c:f>
              <c:strCache>
                <c:ptCount val="3"/>
                <c:pt idx="0">
                  <c:v>Transit</c:v>
                </c:pt>
                <c:pt idx="1">
                  <c:v>Loading</c:v>
                </c:pt>
                <c:pt idx="2">
                  <c:v>Unloading</c:v>
                </c:pt>
              </c:strCache>
            </c:strRef>
          </c:cat>
          <c:val>
            <c:numRef>
              <c:f>Sheet1!$F$25:$H$25</c:f>
              <c:numCache>
                <c:formatCode>General</c:formatCode>
                <c:ptCount val="3"/>
                <c:pt idx="0">
                  <c:v>64</c:v>
                </c:pt>
                <c:pt idx="1">
                  <c:v>51</c:v>
                </c:pt>
                <c:pt idx="2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06-4CB9-89D4-1F3E93848F91}"/>
            </c:ext>
          </c:extLst>
        </c:ser>
        <c:ser>
          <c:idx val="2"/>
          <c:order val="2"/>
          <c:tx>
            <c:strRef>
              <c:f>Sheet1!$E$26</c:f>
              <c:strCache>
                <c:ptCount val="1"/>
                <c:pt idx="0">
                  <c:v>2020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Sheet1!$F$23:$H$23</c:f>
              <c:strCache>
                <c:ptCount val="3"/>
                <c:pt idx="0">
                  <c:v>Transit</c:v>
                </c:pt>
                <c:pt idx="1">
                  <c:v>Loading</c:v>
                </c:pt>
                <c:pt idx="2">
                  <c:v>Unloading</c:v>
                </c:pt>
              </c:strCache>
            </c:strRef>
          </c:cat>
          <c:val>
            <c:numRef>
              <c:f>Sheet1!$F$26:$H$26</c:f>
              <c:numCache>
                <c:formatCode>General</c:formatCode>
                <c:ptCount val="3"/>
                <c:pt idx="0">
                  <c:v>42</c:v>
                </c:pt>
                <c:pt idx="1">
                  <c:v>36</c:v>
                </c:pt>
                <c:pt idx="2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06-4CB9-89D4-1F3E93848F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767509912"/>
        <c:axId val="767505320"/>
      </c:barChart>
      <c:catAx>
        <c:axId val="767509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7505320"/>
        <c:crosses val="autoZero"/>
        <c:auto val="1"/>
        <c:lblAlgn val="ctr"/>
        <c:lblOffset val="100"/>
        <c:noMultiLvlLbl val="0"/>
      </c:catAx>
      <c:valAx>
        <c:axId val="767505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7509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l-NL"/>
              <a:t>TRUCK TYPES 2016 - 202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C$6:$C$7</c:f>
              <c:strCache>
                <c:ptCount val="2"/>
                <c:pt idx="0">
                  <c:v>EURO</c:v>
                </c:pt>
                <c:pt idx="1">
                  <c:v>I/II/III/I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B$8:$B$12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8:$C$12</c:f>
              <c:numCache>
                <c:formatCode>General</c:formatCode>
                <c:ptCount val="5"/>
                <c:pt idx="0">
                  <c:v>18</c:v>
                </c:pt>
                <c:pt idx="1">
                  <c:v>15</c:v>
                </c:pt>
                <c:pt idx="2">
                  <c:v>7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51-4A3C-9642-C5E49AB033BD}"/>
            </c:ext>
          </c:extLst>
        </c:ser>
        <c:ser>
          <c:idx val="1"/>
          <c:order val="1"/>
          <c:tx>
            <c:strRef>
              <c:f>Sheet1!$D$6:$D$7</c:f>
              <c:strCache>
                <c:ptCount val="2"/>
                <c:pt idx="0">
                  <c:v>EURO</c:v>
                </c:pt>
                <c:pt idx="1">
                  <c:v>V/V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B$8:$B$12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8:$D$12</c:f>
              <c:numCache>
                <c:formatCode>General</c:formatCode>
                <c:ptCount val="5"/>
                <c:pt idx="0">
                  <c:v>82</c:v>
                </c:pt>
                <c:pt idx="1">
                  <c:v>85</c:v>
                </c:pt>
                <c:pt idx="2">
                  <c:v>92</c:v>
                </c:pt>
                <c:pt idx="3">
                  <c:v>96</c:v>
                </c:pt>
                <c:pt idx="4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51-4A3C-9642-C5E49AB033BD}"/>
            </c:ext>
          </c:extLst>
        </c:ser>
        <c:ser>
          <c:idx val="2"/>
          <c:order val="2"/>
          <c:tx>
            <c:strRef>
              <c:f>Sheet1!$E$6:$E$7</c:f>
              <c:strCache>
                <c:ptCount val="2"/>
                <c:pt idx="0">
                  <c:v>ALT</c:v>
                </c:pt>
                <c:pt idx="1">
                  <c:v>FUEL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Sheet1!$B$8:$B$12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E$8:$E$1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51-4A3C-9642-C5E49AB03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42974648"/>
        <c:axId val="742973336"/>
      </c:barChart>
      <c:catAx>
        <c:axId val="742974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2973336"/>
        <c:crosses val="autoZero"/>
        <c:auto val="1"/>
        <c:lblAlgn val="ctr"/>
        <c:lblOffset val="100"/>
        <c:noMultiLvlLbl val="0"/>
      </c:catAx>
      <c:valAx>
        <c:axId val="742973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2974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72493" cy="498634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908" y="1"/>
            <a:ext cx="2972492" cy="498634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r">
              <a:defRPr sz="1200"/>
            </a:lvl1pPr>
          </a:lstStyle>
          <a:p>
            <a:fld id="{DCDF1712-896F-4408-96E7-03027954EE36}" type="datetimeFigureOut">
              <a:rPr lang="en-GB" smtClean="0"/>
              <a:t>07/10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7054"/>
            <a:ext cx="2972493" cy="498634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908" y="9447054"/>
            <a:ext cx="2972492" cy="498634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r">
              <a:defRPr sz="1200"/>
            </a:lvl1pPr>
          </a:lstStyle>
          <a:p>
            <a:fld id="{23BF1BC6-493F-4DA9-85F3-9E155376528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520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r">
              <a:defRPr sz="1200"/>
            </a:lvl1pPr>
          </a:lstStyle>
          <a:p>
            <a:fld id="{1BBEEB61-0867-401B-BAF2-308345D1B347}" type="datetimeFigureOut">
              <a:rPr lang="nl-NL" smtClean="0"/>
              <a:pPr/>
              <a:t>7-10-2021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2940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9" tIns="45861" rIns="91719" bIns="45861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724203"/>
            <a:ext cx="5486400" cy="4475560"/>
          </a:xfrm>
          <a:prstGeom prst="rect">
            <a:avLst/>
          </a:prstGeom>
        </p:spPr>
        <p:txBody>
          <a:bodyPr vert="horz" lIns="91719" tIns="45861" rIns="91719" bIns="45861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446679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9446679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r">
              <a:defRPr sz="1200"/>
            </a:lvl1pPr>
          </a:lstStyle>
          <a:p>
            <a:fld id="{14A7B2EC-679B-44AC-8D1D-847FC049D699}" type="slidenum">
              <a:rPr lang="nl-NL" smtClean="0"/>
              <a:pPr/>
              <a:t>‹Nr.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A7B2EC-679B-44AC-8D1D-847FC049D699}" type="slidenum">
              <a:rPr lang="nl-NL" smtClean="0"/>
              <a:pPr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77675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cta.com/" TargetMode="External"/><Relationship Id="rId2" Type="http://schemas.openxmlformats.org/officeDocument/2006/relationships/hyperlink" Target="mailto:info@ecta.com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271106"/>
            <a:ext cx="10224459" cy="1323439"/>
          </a:xfrm>
          <a:solidFill>
            <a:srgbClr val="2268AE"/>
          </a:solidFill>
        </p:spPr>
        <p:txBody>
          <a:bodyPr wrap="square" lIns="431586" anchor="t" anchorCtr="0">
            <a:spAutoFit/>
          </a:bodyPr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nl-NL" dirty="0" err="1"/>
              <a:t>Title</a:t>
            </a:r>
            <a:br>
              <a:rPr lang="nl-NL" dirty="0"/>
            </a:b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335360" y="4452873"/>
            <a:ext cx="9889099" cy="366962"/>
          </a:xfrm>
        </p:spPr>
        <p:txBody>
          <a:bodyPr lIns="0">
            <a:normAutofit/>
          </a:bodyPr>
          <a:lstStyle>
            <a:lvl1pPr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endParaRPr lang="nl-BE" dirty="0"/>
          </a:p>
        </p:txBody>
      </p:sp>
      <p:sp>
        <p:nvSpPr>
          <p:cNvPr id="12" name="Rectangle 17"/>
          <p:cNvSpPr/>
          <p:nvPr userDrawn="1"/>
        </p:nvSpPr>
        <p:spPr>
          <a:xfrm>
            <a:off x="0" y="242372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sp>
        <p:nvSpPr>
          <p:cNvPr id="16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7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0C11ED14-E8FF-428F-A227-91CDB0F962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3353" y="476672"/>
            <a:ext cx="2952327" cy="108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42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 userDrawn="1"/>
        </p:nvSpPr>
        <p:spPr>
          <a:xfrm>
            <a:off x="14597" y="6169677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9" name="Tijdelijke aanduiding voor datum 3"/>
          <p:cNvSpPr txBox="1">
            <a:spLocks/>
          </p:cNvSpPr>
          <p:nvPr userDrawn="1"/>
        </p:nvSpPr>
        <p:spPr>
          <a:xfrm>
            <a:off x="625237" y="640324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C1750A-FB84-4714-95E3-A39D8DC385D0}" type="datetimeFigureOut">
              <a:rPr lang="nl-NL" sz="1200" smtClean="0"/>
              <a:pPr/>
              <a:t>7-10-2021</a:t>
            </a:fld>
            <a:endParaRPr lang="nl-NL" sz="1200" dirty="0"/>
          </a:p>
        </p:txBody>
      </p:sp>
      <p:sp>
        <p:nvSpPr>
          <p:cNvPr id="10" name="Tijdelijke aanduiding voor dianummer 5"/>
          <p:cNvSpPr txBox="1">
            <a:spLocks/>
          </p:cNvSpPr>
          <p:nvPr userDrawn="1"/>
        </p:nvSpPr>
        <p:spPr>
          <a:xfrm>
            <a:off x="8753237" y="640324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6ADC1-E432-41DA-8E6B-F187E343A216}" type="slidenum">
              <a:rPr lang="nl-NL" sz="1200" smtClean="0"/>
              <a:pPr/>
              <a:t>‹Nr.›</a:t>
            </a:fld>
            <a:endParaRPr lang="nl-NL" sz="120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4080677" y="6403242"/>
            <a:ext cx="3860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0"/>
            <a:ext cx="10212593" cy="144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6" y="1538302"/>
            <a:ext cx="11139892" cy="5054400"/>
          </a:xfrm>
        </p:spPr>
        <p:txBody>
          <a:bodyPr/>
          <a:lstStyle>
            <a:lvl1pPr marL="0" indent="0">
              <a:spcBef>
                <a:spcPts val="886"/>
              </a:spcBef>
              <a:buFont typeface="Arial" panose="020B0604020202020204" pitchFamily="34" charset="0"/>
              <a:buNone/>
              <a:defRPr>
                <a:effectLst/>
              </a:defRPr>
            </a:lvl1pPr>
            <a:lvl2pPr marL="303910" indent="-303910">
              <a:buFont typeface="Arial" panose="020B0604020202020204" pitchFamily="34" charset="0"/>
              <a:buChar char="•"/>
              <a:defRPr>
                <a:effectLst/>
              </a:defRPr>
            </a:lvl2pPr>
            <a:lvl3pPr marL="502297" indent="-303910">
              <a:buFont typeface="Calibri" panose="020F0502020204030204" pitchFamily="34" charset="0"/>
              <a:buChar char="–"/>
              <a:defRPr>
                <a:effectLst/>
              </a:defRPr>
            </a:lvl3pPr>
            <a:lvl4pPr marL="689427" indent="-253259">
              <a:buFont typeface="Calibri" panose="020F0502020204030204" pitchFamily="34" charset="0"/>
              <a:buChar char="◦"/>
              <a:defRPr>
                <a:effectLst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1153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3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2100" b="0">
                <a:solidFill>
                  <a:schemeClr val="bg2"/>
                </a:solidFill>
              </a:defRPr>
            </a:lvl1pPr>
            <a:lvl2pPr marL="405213" indent="0" algn="ctr">
              <a:buNone/>
              <a:defRPr sz="1800"/>
            </a:lvl2pPr>
            <a:lvl3pPr marL="810428" indent="0" algn="ctr">
              <a:buNone/>
              <a:defRPr sz="1600"/>
            </a:lvl3pPr>
            <a:lvl4pPr marL="1215642" indent="0" algn="ctr">
              <a:buNone/>
              <a:defRPr sz="1400"/>
            </a:lvl4pPr>
            <a:lvl5pPr marL="1620856" indent="0" algn="ctr">
              <a:buNone/>
              <a:defRPr sz="1400"/>
            </a:lvl5pPr>
            <a:lvl6pPr marL="2026071" indent="0" algn="ctr">
              <a:buNone/>
              <a:defRPr sz="1400"/>
            </a:lvl6pPr>
            <a:lvl7pPr marL="2431284" indent="0" algn="ctr">
              <a:buNone/>
              <a:defRPr sz="1400"/>
            </a:lvl7pPr>
            <a:lvl8pPr marL="2836499" indent="0" algn="ctr">
              <a:buNone/>
              <a:defRPr sz="1400"/>
            </a:lvl8pPr>
            <a:lvl9pPr marL="3241712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80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6" y="6315261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89996" y="6231979"/>
            <a:ext cx="2215384" cy="4689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659" y="6226096"/>
            <a:ext cx="1772308" cy="48069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245" y="6145927"/>
            <a:ext cx="1772308" cy="64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707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4160" userDrawn="1">
          <p15:clr>
            <a:srgbClr val="FBAE40"/>
          </p15:clr>
        </p15:guide>
        <p15:guide id="3" pos="491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799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3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2100" b="0">
                <a:solidFill>
                  <a:schemeClr val="bg2"/>
                </a:solidFill>
              </a:defRPr>
            </a:lvl1pPr>
            <a:lvl2pPr marL="405213" indent="0" algn="ctr">
              <a:buNone/>
              <a:defRPr sz="1800"/>
            </a:lvl2pPr>
            <a:lvl3pPr marL="810428" indent="0" algn="ctr">
              <a:buNone/>
              <a:defRPr sz="1600"/>
            </a:lvl3pPr>
            <a:lvl4pPr marL="1215642" indent="0" algn="ctr">
              <a:buNone/>
              <a:defRPr sz="1400"/>
            </a:lvl4pPr>
            <a:lvl5pPr marL="1620856" indent="0" algn="ctr">
              <a:buNone/>
              <a:defRPr sz="1400"/>
            </a:lvl5pPr>
            <a:lvl6pPr marL="2026071" indent="0" algn="ctr">
              <a:buNone/>
              <a:defRPr sz="1400"/>
            </a:lvl6pPr>
            <a:lvl7pPr marL="2431284" indent="0" algn="ctr">
              <a:buNone/>
              <a:defRPr sz="1400"/>
            </a:lvl7pPr>
            <a:lvl8pPr marL="2836499" indent="0" algn="ctr">
              <a:buNone/>
              <a:defRPr sz="1400"/>
            </a:lvl8pPr>
            <a:lvl9pPr marL="3241712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80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6" y="6315261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89996" y="6231979"/>
            <a:ext cx="2215384" cy="46893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659" y="6226096"/>
            <a:ext cx="1772308" cy="48069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245" y="6145927"/>
            <a:ext cx="1772308" cy="64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78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4160" userDrawn="1">
          <p15:clr>
            <a:srgbClr val="FBAE40"/>
          </p15:clr>
        </p15:guide>
        <p15:guide id="3" pos="491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799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617605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3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761281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3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15081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3" y="1538302"/>
            <a:ext cx="11139892" cy="451959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257174" indent="-257174">
              <a:buFont typeface="Arial" panose="020B0604020202020204" pitchFamily="34" charset="0"/>
              <a:buChar char="•"/>
              <a:defRPr/>
            </a:lvl2pPr>
            <a:lvl3pPr marL="425051" indent="-257174">
              <a:buFont typeface="Calibri" panose="020F0502020204030204" pitchFamily="34" charset="0"/>
              <a:buChar char="–"/>
              <a:defRPr/>
            </a:lvl3pPr>
            <a:lvl4pPr marL="583403" indent="-214311">
              <a:buFont typeface="Calibri" panose="020F0502020204030204" pitchFamily="34" charset="0"/>
              <a:buChar char="◦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1523711183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  <a:solidFill>
            <a:srgbClr val="2068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7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5" y="836712"/>
            <a:ext cx="3456385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16" y="764704"/>
            <a:ext cx="5045853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1"/>
            <a:ext cx="4905487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789290" y="1567440"/>
            <a:ext cx="5685537" cy="1592487"/>
          </a:xfrm>
          <a:solidFill>
            <a:schemeClr val="bg2"/>
          </a:solidFill>
          <a:ln w="3175" cmpd="sng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3444474889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1" y="1567440"/>
            <a:ext cx="5280000" cy="44987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443948" y="1567439"/>
            <a:ext cx="5280000" cy="4498766"/>
          </a:xfrm>
          <a:solidFill>
            <a:schemeClr val="bg2"/>
          </a:solidFill>
          <a:ln w="3175" cmpd="sng">
            <a:noFill/>
          </a:ln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4014514053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1"/>
            <a:ext cx="6904268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7716820" y="1567439"/>
            <a:ext cx="3758005" cy="651460"/>
          </a:xfrm>
          <a:solidFill>
            <a:schemeClr val="accent4"/>
          </a:solidFill>
          <a:ln w="3175" cmpd="sng">
            <a:noFill/>
          </a:ln>
        </p:spPr>
        <p:txBody>
          <a:bodyPr wrap="square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buNone/>
              <a:defRPr sz="15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3183185928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0"/>
            <a:ext cx="11139892" cy="1592487"/>
          </a:xfrm>
          <a:ln w="3175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103454525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CF6CCB-4538-41A0-8F7E-06FCEBDD2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28" progId="TCLayout.ActiveDocument.1">
                  <p:embed/>
                </p:oleObj>
              </mc:Choice>
              <mc:Fallback>
                <p:oleObj name="think-cell Folie" r:id="rId4" imgW="530" imgH="52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CF6CCB-4538-41A0-8F7E-06FCEBDD2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40576B-903F-4398-89B7-AB3FA97EF6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85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470663774"/>
      </p:ext>
    </p:extLst>
  </p:cSld>
  <p:clrMapOvr>
    <a:masterClrMapping/>
  </p:clrMapOvr>
  <p:transition spd="med">
    <p:pull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9-2-2019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E5C860-90A6-403D-89FF-15B1C3FC1C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28" progId="TCLayout.ActiveDocument.1">
                  <p:embed/>
                </p:oleObj>
              </mc:Choice>
              <mc:Fallback>
                <p:oleObj name="think-cell Folie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6E5C860-90A6-403D-89FF-15B1C3FC1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 hidden="1">
            <a:extLst>
              <a:ext uri="{FF2B5EF4-FFF2-40B4-BE49-F238E27FC236}">
                <a16:creationId xmlns:a16="http://schemas.microsoft.com/office/drawing/2014/main" id="{7DE954E0-8069-4C4D-9F79-AA022CEF5A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85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8932"/>
      </p:ext>
    </p:extLst>
  </p:cSld>
  <p:clrMapOvr>
    <a:masterClrMapping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4" y="0"/>
            <a:ext cx="10212593" cy="144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6" y="1538302"/>
            <a:ext cx="11139892" cy="5054400"/>
          </a:xfrm>
        </p:spPr>
        <p:txBody>
          <a:bodyPr/>
          <a:lstStyle>
            <a:lvl1pPr marL="0" indent="0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None/>
              <a:defRPr>
                <a:effectLst/>
              </a:defRPr>
            </a:lvl1pPr>
            <a:lvl2pPr marL="203597" indent="-203597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>
                <a:effectLst/>
              </a:defRPr>
            </a:lvl2pPr>
            <a:lvl3pPr marL="406004" indent="-202406">
              <a:spcBef>
                <a:spcPts val="225"/>
              </a:spcBef>
              <a:spcAft>
                <a:spcPts val="225"/>
              </a:spcAft>
              <a:buFont typeface="Calibri" panose="020F0502020204030204" pitchFamily="34" charset="0"/>
              <a:buChar char="–"/>
              <a:defRPr>
                <a:effectLst/>
              </a:defRPr>
            </a:lvl3pPr>
            <a:lvl4pPr marL="603647" indent="-197644">
              <a:spcBef>
                <a:spcPts val="225"/>
              </a:spcBef>
              <a:spcAft>
                <a:spcPts val="225"/>
              </a:spcAft>
              <a:buFont typeface="Calibri" panose="020F0502020204030204" pitchFamily="34" charset="0"/>
              <a:buChar char="◦"/>
              <a:tabLst/>
              <a:defRPr>
                <a:effectLst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77305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306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1706" b="0">
                <a:solidFill>
                  <a:schemeClr val="bg2"/>
                </a:solidFill>
              </a:defRPr>
            </a:lvl1pPr>
            <a:lvl2pPr marL="329228" indent="0" algn="ctr">
              <a:buNone/>
              <a:defRPr sz="1463"/>
            </a:lvl2pPr>
            <a:lvl3pPr marL="658457" indent="0" algn="ctr">
              <a:buNone/>
              <a:defRPr sz="1300"/>
            </a:lvl3pPr>
            <a:lvl4pPr marL="987685" indent="0" algn="ctr">
              <a:buNone/>
              <a:defRPr sz="1138"/>
            </a:lvl4pPr>
            <a:lvl5pPr marL="1316912" indent="0" algn="ctr">
              <a:buNone/>
              <a:defRPr sz="1138"/>
            </a:lvl5pPr>
            <a:lvl6pPr marL="1646141" indent="0" algn="ctr">
              <a:buNone/>
              <a:defRPr sz="1138"/>
            </a:lvl6pPr>
            <a:lvl7pPr marL="1975369" indent="0" algn="ctr">
              <a:buNone/>
              <a:defRPr sz="1138"/>
            </a:lvl7pPr>
            <a:lvl8pPr marL="2304598" indent="0" algn="ctr">
              <a:buNone/>
              <a:defRPr sz="1138"/>
            </a:lvl8pPr>
            <a:lvl9pPr marL="2633825" indent="0" algn="ctr">
              <a:buNone/>
              <a:defRPr sz="113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5" y="6068681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7" y="6315262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53637" y="6132179"/>
            <a:ext cx="1801359" cy="46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0186" y="6132179"/>
            <a:ext cx="1399967" cy="46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5343" y="6054760"/>
            <a:ext cx="14558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819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5120" userDrawn="1">
          <p15:clr>
            <a:srgbClr val="FBAE40"/>
          </p15:clr>
        </p15:guide>
        <p15:guide id="3" pos="604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9837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306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1706" b="0">
                <a:solidFill>
                  <a:schemeClr val="bg2"/>
                </a:solidFill>
              </a:defRPr>
            </a:lvl1pPr>
            <a:lvl2pPr marL="329228" indent="0" algn="ctr">
              <a:buNone/>
              <a:defRPr sz="1463"/>
            </a:lvl2pPr>
            <a:lvl3pPr marL="658457" indent="0" algn="ctr">
              <a:buNone/>
              <a:defRPr sz="1300"/>
            </a:lvl3pPr>
            <a:lvl4pPr marL="987685" indent="0" algn="ctr">
              <a:buNone/>
              <a:defRPr sz="1138"/>
            </a:lvl4pPr>
            <a:lvl5pPr marL="1316912" indent="0" algn="ctr">
              <a:buNone/>
              <a:defRPr sz="1138"/>
            </a:lvl5pPr>
            <a:lvl6pPr marL="1646141" indent="0" algn="ctr">
              <a:buNone/>
              <a:defRPr sz="1138"/>
            </a:lvl6pPr>
            <a:lvl7pPr marL="1975369" indent="0" algn="ctr">
              <a:buNone/>
              <a:defRPr sz="1138"/>
            </a:lvl7pPr>
            <a:lvl8pPr marL="2304598" indent="0" algn="ctr">
              <a:buNone/>
              <a:defRPr sz="1138"/>
            </a:lvl8pPr>
            <a:lvl9pPr marL="2633825" indent="0" algn="ctr">
              <a:buNone/>
              <a:defRPr sz="113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5" y="6068681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7" y="6315262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E0A9E2-4697-474B-9200-45B09E14DB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53637" y="6132179"/>
            <a:ext cx="1801359" cy="46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CD71D3-D07E-4349-AF4F-A290D1F3E0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0186" y="6132179"/>
            <a:ext cx="1399967" cy="46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718FF38-115B-4497-912B-14C91ABA88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5343" y="6054760"/>
            <a:ext cx="14558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13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5120" userDrawn="1">
          <p15:clr>
            <a:srgbClr val="FBAE40"/>
          </p15:clr>
        </p15:guide>
        <p15:guide id="3" pos="604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9837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3751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  <a:solidFill>
            <a:srgbClr val="2068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7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85" y="480392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235" y="480393"/>
            <a:ext cx="3470596" cy="742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6459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D8C56-CD05-482E-B465-0DD5EACEA9D8}" type="datetimeFigureOut">
              <a:rPr lang="en-US" smtClean="0"/>
              <a:t>10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76AC8-6C0D-4711-9F11-69FC8776A2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1699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D8C56-CD05-482E-B465-0DD5EACEA9D8}" type="datetimeFigureOut">
              <a:rPr lang="en-US" smtClean="0"/>
              <a:t>10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76AC8-6C0D-4711-9F11-69FC8776A2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3468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76497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2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2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11637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2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2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351793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3" y="1538302"/>
            <a:ext cx="11139892" cy="451959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342898" indent="-342898">
              <a:buFont typeface="Arial" panose="020B0604020202020204" pitchFamily="34" charset="0"/>
              <a:buChar char="•"/>
              <a:defRPr/>
            </a:lvl2pPr>
            <a:lvl3pPr marL="566734" indent="-342898">
              <a:buFont typeface="Calibri" panose="020F0502020204030204" pitchFamily="34" charset="0"/>
              <a:buChar char="–"/>
              <a:defRPr/>
            </a:lvl3pPr>
            <a:lvl4pPr marL="777871" indent="-285748">
              <a:buFont typeface="Calibri" panose="020F0502020204030204" pitchFamily="34" charset="0"/>
              <a:buChar char="◦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62132160"/>
      </p:ext>
    </p:extLst>
  </p:cSld>
  <p:clrMapOvr>
    <a:masterClrMapping/>
  </p:clrMapOvr>
  <p:transition spd="slow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2" y="1567441"/>
            <a:ext cx="4905487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789289" y="1567439"/>
            <a:ext cx="5685537" cy="2075440"/>
          </a:xfrm>
          <a:solidFill>
            <a:schemeClr val="bg2"/>
          </a:solidFill>
          <a:ln w="3175" cmpd="sng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196455070"/>
      </p:ext>
    </p:extLst>
  </p:cSld>
  <p:clrMapOvr>
    <a:masterClrMapping/>
  </p:clrMapOvr>
  <p:transition spd="slow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1" y="1567440"/>
            <a:ext cx="5280000" cy="44987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443948" y="1567439"/>
            <a:ext cx="5280000" cy="4498766"/>
          </a:xfrm>
          <a:solidFill>
            <a:schemeClr val="bg2"/>
          </a:solidFill>
          <a:ln w="3175" cmpd="sng">
            <a:noFill/>
          </a:ln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57043580"/>
      </p:ext>
    </p:extLst>
  </p:cSld>
  <p:clrMapOvr>
    <a:masterClrMapping/>
  </p:clrMapOvr>
  <p:transition spd="slow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2" y="1567441"/>
            <a:ext cx="6904268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7716819" y="1567439"/>
            <a:ext cx="3758005" cy="833562"/>
          </a:xfrm>
          <a:solidFill>
            <a:schemeClr val="accent4"/>
          </a:solidFill>
          <a:ln w="3175" cmpd="sng">
            <a:noFill/>
          </a:ln>
        </p:spPr>
        <p:txBody>
          <a:bodyPr wrap="square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2"/>
                </a:solidFill>
              </a:defRPr>
            </a:lvl1pPr>
            <a:lvl2pPr marL="0" indent="0">
              <a:buNone/>
              <a:defRPr sz="20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1229899690"/>
      </p:ext>
    </p:extLst>
  </p:cSld>
  <p:clrMapOvr>
    <a:masterClrMapping/>
  </p:clrMapOvr>
  <p:transition spd="slow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39"/>
            <a:ext cx="11139892" cy="2075440"/>
          </a:xfrm>
          <a:ln w="3175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2869059666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8723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+ achtergrond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-15744" y="216666"/>
            <a:ext cx="12192000" cy="50765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0"/>
            <a:ext cx="12192000" cy="211030"/>
          </a:xfrm>
          <a:prstGeom prst="rect">
            <a:avLst/>
          </a:prstGeom>
          <a:solidFill>
            <a:srgbClr val="2068AD"/>
          </a:solidFill>
          <a:ln>
            <a:solidFill>
              <a:srgbClr val="1E6BA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/>
          </a:p>
        </p:txBody>
      </p:sp>
      <p:sp>
        <p:nvSpPr>
          <p:cNvPr id="14" name="Rectangle 13"/>
          <p:cNvSpPr/>
          <p:nvPr userDrawn="1"/>
        </p:nvSpPr>
        <p:spPr>
          <a:xfrm>
            <a:off x="0" y="2015275"/>
            <a:ext cx="5705112" cy="2862261"/>
          </a:xfrm>
          <a:prstGeom prst="rect">
            <a:avLst/>
          </a:prstGeom>
          <a:solidFill>
            <a:srgbClr val="2269AC"/>
          </a:solidFill>
        </p:spPr>
        <p:txBody>
          <a:bodyPr wrap="square" lIns="359655" tIns="143862" rIns="143862" bIns="143862" anchor="b" anchorCtr="0">
            <a:noAutofit/>
          </a:bodyPr>
          <a:lstStyle/>
          <a:p>
            <a:pPr marL="0" algn="l" defTabSz="457200" rtl="0" eaLnBrk="1" latinLnBrk="0" hangingPunct="1"/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CTA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peaks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hemical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transport</a:t>
            </a:r>
            <a:b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ustry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ll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ts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stakeholder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129759" y="2017914"/>
            <a:ext cx="5547740" cy="28688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l-BE" sz="1600" b="1" baseline="0" dirty="0">
                <a:solidFill>
                  <a:schemeClr val="tx1"/>
                </a:solidFill>
                <a:latin typeface=""/>
              </a:rPr>
              <a:t>European Chemical Transport Association</a:t>
            </a:r>
          </a:p>
          <a:p>
            <a:endParaRPr lang="nl-BE" sz="1800" baseline="0" dirty="0">
              <a:solidFill>
                <a:schemeClr val="tx1"/>
              </a:solidFill>
              <a:latin typeface=""/>
            </a:endParaRPr>
          </a:p>
          <a:p>
            <a:r>
              <a:rPr lang="nl-BE" sz="1600" dirty="0"/>
              <a:t>Diamant Brussels Conference &amp; Business Centre</a:t>
            </a:r>
            <a:br>
              <a:rPr lang="nl-BE" sz="1800" dirty="0"/>
            </a:br>
            <a:r>
              <a:rPr lang="nl-BE" sz="1600" dirty="0"/>
              <a:t>Boulevard Auguste </a:t>
            </a:r>
            <a:r>
              <a:rPr lang="nl-BE" sz="1600" dirty="0" err="1"/>
              <a:t>Reyers</a:t>
            </a:r>
            <a:r>
              <a:rPr lang="nl-BE" sz="1600" dirty="0"/>
              <a:t>, 80</a:t>
            </a:r>
          </a:p>
          <a:p>
            <a:r>
              <a:rPr lang="nl-BE" sz="1600" dirty="0"/>
              <a:t>1030 Brussels</a:t>
            </a:r>
          </a:p>
          <a:p>
            <a:r>
              <a:rPr lang="nl-BE" sz="1600" dirty="0"/>
              <a:t>BELGIUM</a:t>
            </a:r>
          </a:p>
          <a:p>
            <a:endParaRPr lang="nl-BE" sz="1600" dirty="0"/>
          </a:p>
          <a:p>
            <a:r>
              <a:rPr lang="nl-BE" sz="1800" dirty="0"/>
              <a:t>Phone: </a:t>
            </a:r>
            <a:r>
              <a:rPr lang="nl-BE" sz="1800" b="0" dirty="0"/>
              <a:t>+32</a:t>
            </a:r>
            <a:r>
              <a:rPr lang="nl-BE" sz="1800" b="0" baseline="0" dirty="0"/>
              <a:t> </a:t>
            </a:r>
            <a:r>
              <a:rPr lang="nl-BE" sz="1800" b="0" dirty="0"/>
              <a:t>2 318 58 27</a:t>
            </a:r>
            <a:br>
              <a:rPr lang="nl-BE" sz="1800" dirty="0"/>
            </a:br>
            <a:r>
              <a:rPr lang="nl-BE" sz="1800" dirty="0"/>
              <a:t>Email: </a:t>
            </a:r>
            <a:r>
              <a:rPr lang="nl-BE" sz="1800" dirty="0">
                <a:hlinkClick r:id="rId2"/>
              </a:rPr>
              <a:t>info@ecta.com</a:t>
            </a:r>
            <a:endParaRPr lang="nl-BE" sz="1800" dirty="0"/>
          </a:p>
          <a:p>
            <a:endParaRPr lang="nl-BE" sz="1800" baseline="0" dirty="0">
              <a:solidFill>
                <a:schemeClr val="tx1"/>
              </a:solidFill>
              <a:latin typeface=""/>
            </a:endParaRPr>
          </a:p>
          <a:p>
            <a:r>
              <a:rPr lang="nl-BE" sz="1800" baseline="0" dirty="0">
                <a:solidFill>
                  <a:schemeClr val="tx1"/>
                </a:solidFill>
                <a:latin typeface=""/>
                <a:hlinkClick r:id="rId3"/>
              </a:rPr>
              <a:t>www.ecta.com</a:t>
            </a:r>
            <a:endParaRPr lang="nl-BE" sz="1800" baseline="0" dirty="0">
              <a:solidFill>
                <a:schemeClr val="tx1"/>
              </a:solidFill>
              <a:latin typeface=""/>
            </a:endParaRPr>
          </a:p>
        </p:txBody>
      </p:sp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0997" y="5877272"/>
            <a:ext cx="2926591" cy="720080"/>
          </a:xfrm>
          <a:prstGeom prst="rect">
            <a:avLst/>
          </a:prstGeom>
        </p:spPr>
      </p:pic>
      <p:pic>
        <p:nvPicPr>
          <p:cNvPr id="9" name="Picture 7" descr="ECTAfinal00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9467" y="539079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514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het opmaakprofiel van de modelondertit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8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85" y="480392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235" y="480393"/>
            <a:ext cx="3470596" cy="742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3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5.xml"/><Relationship Id="rId14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9806880" cy="8501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340768"/>
            <a:ext cx="10972800" cy="47853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15"/>
          <p:cNvSpPr/>
          <p:nvPr userDrawn="1"/>
        </p:nvSpPr>
        <p:spPr>
          <a:xfrm>
            <a:off x="0" y="0"/>
            <a:ext cx="12192000" cy="211030"/>
          </a:xfrm>
          <a:prstGeom prst="rect">
            <a:avLst/>
          </a:prstGeom>
          <a:solidFill>
            <a:srgbClr val="2268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/>
          </a:p>
        </p:txBody>
      </p:sp>
      <p:pic>
        <p:nvPicPr>
          <p:cNvPr id="8" name="Picture 7" descr="ECTAfinal00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2" y="351233"/>
            <a:ext cx="1418335" cy="41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RC sustainability.jp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2" y="831952"/>
            <a:ext cx="1367796" cy="292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47" r:id="rId2"/>
    <p:sldLayoutId id="2147483759" r:id="rId3"/>
    <p:sldLayoutId id="2147483757" r:id="rId4"/>
    <p:sldLayoutId id="2147483756" r:id="rId5"/>
    <p:sldLayoutId id="2147483745" r:id="rId6"/>
    <p:sldLayoutId id="2147483746" r:id="rId7"/>
    <p:sldLayoutId id="2147483748" r:id="rId8"/>
    <p:sldLayoutId id="2147483749" r:id="rId9"/>
    <p:sldLayoutId id="2147483750" r:id="rId10"/>
    <p:sldLayoutId id="2147483751" r:id="rId11"/>
    <p:sldLayoutId id="2147483753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nl-NL" sz="3800" b="0" i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"/>
            <a:ext cx="12192000" cy="1439999"/>
          </a:xfrm>
          <a:prstGeom prst="rect">
            <a:avLst/>
          </a:prstGeom>
          <a:gradFill>
            <a:gsLst>
              <a:gs pos="0">
                <a:schemeClr val="bg2">
                  <a:lumMod val="98000"/>
                </a:schemeClr>
              </a:gs>
              <a:gs pos="33000">
                <a:schemeClr val="bg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43" tIns="40522" rIns="81043" bIns="40522" rtlCol="0" anchor="ctr"/>
          <a:lstStyle/>
          <a:p>
            <a:pPr algn="ctr"/>
            <a:endParaRPr lang="en-GB" sz="1805" dirty="0">
              <a:ln>
                <a:noFill/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2" y="0"/>
            <a:ext cx="10212593" cy="1440000"/>
          </a:xfrm>
          <a:prstGeom prst="rect">
            <a:avLst/>
          </a:prstGeom>
        </p:spPr>
        <p:txBody>
          <a:bodyPr vert="horz" lIns="81043" tIns="40522" rIns="81043" bIns="40522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6" y="1535165"/>
            <a:ext cx="11139892" cy="5054400"/>
          </a:xfrm>
          <a:prstGeom prst="rect">
            <a:avLst/>
          </a:prstGeom>
        </p:spPr>
        <p:txBody>
          <a:bodyPr vert="horz" lIns="81043" tIns="40522" rIns="81043" bIns="405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303910" lvl="1" indent="-303910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502297" lvl="2" indent="-303910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Calibri" panose="020F0502020204030204" pitchFamily="34" charset="0"/>
              <a:buChar char="–"/>
            </a:pPr>
            <a:r>
              <a:rPr lang="en-US" dirty="0"/>
              <a:t>Third level</a:t>
            </a:r>
          </a:p>
          <a:p>
            <a:pPr marL="689427" lvl="3" indent="-253259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Calibri" panose="020F0502020204030204" pitchFamily="34" charset="0"/>
              <a:buChar char="◦"/>
            </a:pPr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7783" y="802496"/>
            <a:ext cx="1329231" cy="36052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7783" y="237736"/>
            <a:ext cx="1329231" cy="480774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9447566" y="6492879"/>
            <a:ext cx="2744437" cy="365125"/>
          </a:xfrm>
          <a:prstGeom prst="rect">
            <a:avLst/>
          </a:prstGeom>
        </p:spPr>
        <p:txBody>
          <a:bodyPr vert="horz" lIns="81043" tIns="40522" rIns="81043" bIns="40522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84F883-9912-4EFB-8404-2A825476CACA}" type="slidenum">
              <a:rPr lang="fr-BE" sz="1100" i="1" smtClean="0"/>
              <a:pPr/>
              <a:t>‹Nr.›</a:t>
            </a:fld>
            <a:endParaRPr lang="fr-BE" sz="1200" i="1" dirty="0"/>
          </a:p>
        </p:txBody>
      </p:sp>
    </p:spTree>
    <p:extLst>
      <p:ext uri="{BB962C8B-B14F-4D97-AF65-F5344CB8AC3E}">
        <p14:creationId xmlns:p14="http://schemas.microsoft.com/office/powerpoint/2010/main" val="112274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</p:sldLayoutIdLst>
  <p:hf hdr="0" ftr="0" dt="0"/>
  <p:txStyles>
    <p:titleStyle>
      <a:lvl1pPr algn="l" defTabSz="810428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10428" rtl="0" eaLnBrk="1" latinLnBrk="0" hangingPunct="1">
        <a:lnSpc>
          <a:spcPct val="100000"/>
        </a:lnSpc>
        <a:spcBef>
          <a:spcPts val="0"/>
        </a:spcBef>
        <a:spcAft>
          <a:spcPts val="1064"/>
        </a:spcAft>
        <a:buClr>
          <a:schemeClr val="accent2"/>
        </a:buClr>
        <a:buFont typeface="Arial" panose="020B0604020202020204" pitchFamily="34" charset="0"/>
        <a:buNone/>
        <a:defRPr sz="2100" kern="1200">
          <a:solidFill>
            <a:schemeClr val="bg1"/>
          </a:solidFill>
          <a:latin typeface="+mn-lt"/>
          <a:ea typeface="+mn-ea"/>
          <a:cs typeface="+mn-cs"/>
        </a:defRPr>
      </a:lvl1pPr>
      <a:lvl2pPr marL="202607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Arial" panose="020B0604020202020204" pitchFamily="34" charset="0"/>
        <a:buChar char="•"/>
        <a:defRPr lang="en-US" sz="2100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2pPr>
      <a:lvl3pPr marL="400994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Calibri" panose="020F0502020204030204" pitchFamily="34" charset="0"/>
        <a:buChar char="–"/>
        <a:defRPr lang="en-US" sz="1800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3pPr>
      <a:lvl4pPr marL="638775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Calibri" panose="020F0502020204030204" pitchFamily="34" charset="0"/>
        <a:buChar char="◦"/>
        <a:defRPr lang="en-US" sz="1600" kern="1200" dirty="0">
          <a:solidFill>
            <a:schemeClr val="bg1"/>
          </a:solidFill>
          <a:effectLst/>
          <a:latin typeface="+mn-lt"/>
          <a:ea typeface="+mn-ea"/>
          <a:cs typeface="+mn-cs"/>
        </a:defRPr>
      </a:lvl4pPr>
      <a:lvl5pPr marL="1620856" indent="0" algn="l" defTabSz="810428" rtl="0" eaLnBrk="1" latinLnBrk="0" hangingPunct="1">
        <a:lnSpc>
          <a:spcPct val="90000"/>
        </a:lnSpc>
        <a:spcBef>
          <a:spcPts val="443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228677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33890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39106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44319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3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28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2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56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71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84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499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12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 userDrawn="1">
          <p15:clr>
            <a:srgbClr val="F26B43"/>
          </p15:clr>
        </p15:guide>
        <p15:guide id="2" pos="4160" userDrawn="1">
          <p15:clr>
            <a:srgbClr val="F26B43"/>
          </p15:clr>
        </p15:guide>
        <p15:guide id="3" pos="491" userDrawn="1">
          <p15:clr>
            <a:srgbClr val="F26B43"/>
          </p15:clr>
        </p15:guide>
        <p15:guide id="4" orient="horz" pos="388" userDrawn="1">
          <p15:clr>
            <a:srgbClr val="F26B43"/>
          </p15:clr>
        </p15:guide>
        <p15:guide id="5" orient="horz" pos="4579" userDrawn="1">
          <p15:clr>
            <a:srgbClr val="F26B43"/>
          </p15:clr>
        </p15:guide>
        <p15:guide id="6" orient="horz" pos="4968" userDrawn="1">
          <p15:clr>
            <a:srgbClr val="F26B43"/>
          </p15:clr>
        </p15:guide>
        <p15:guide id="7" pos="799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91"/>
          <a:stretch/>
        </p:blipFill>
        <p:spPr bwMode="gray">
          <a:xfrm>
            <a:off x="11124487" y="476673"/>
            <a:ext cx="589149" cy="44096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5" y="441066"/>
            <a:ext cx="10212593" cy="9789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3" y="1535166"/>
            <a:ext cx="11139892" cy="4522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69196" y="6356356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BE" dirty="0"/>
              <a:t>Page </a:t>
            </a:r>
            <a:fld id="{6984F883-9912-4EFB-8404-2A825476CACA}" type="slidenum">
              <a:rPr lang="fr-BE" smtClean="0"/>
              <a:pPr/>
              <a:t>‹Nr.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488026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</p:sldLayoutIdLst>
  <p:transition spd="slow">
    <p:wipe dir="r"/>
  </p:transition>
  <p:hf hdr="0" ft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27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339329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–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540544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◦"/>
        <a:defRPr sz="1350" kern="1200">
          <a:solidFill>
            <a:schemeClr val="bg1"/>
          </a:solidFill>
          <a:latin typeface="+mn-lt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120" userDrawn="1">
          <p15:clr>
            <a:srgbClr val="F26B43"/>
          </p15:clr>
        </p15:guide>
        <p15:guide id="3" pos="604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5" orient="horz" pos="3816" userDrawn="1">
          <p15:clr>
            <a:srgbClr val="F26B43"/>
          </p15:clr>
        </p15:guide>
        <p15:guide id="6" orient="horz" pos="4140" userDrawn="1">
          <p15:clr>
            <a:srgbClr val="F26B43"/>
          </p15:clr>
        </p15:guide>
        <p15:guide id="7" pos="983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"/>
            <a:ext cx="12192000" cy="1439999"/>
          </a:xfrm>
          <a:prstGeom prst="rect">
            <a:avLst/>
          </a:prstGeom>
          <a:gradFill>
            <a:gsLst>
              <a:gs pos="0">
                <a:schemeClr val="bg2">
                  <a:lumMod val="98000"/>
                </a:schemeClr>
              </a:gs>
              <a:gs pos="33000">
                <a:schemeClr val="bg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848" tIns="32924" rIns="65848" bIns="32924" rtlCol="0" anchor="ctr"/>
          <a:lstStyle/>
          <a:p>
            <a:pPr algn="ctr"/>
            <a:endParaRPr lang="en-GB" sz="1466" dirty="0">
              <a:ln>
                <a:noFill/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4" y="0"/>
            <a:ext cx="10212593" cy="1440000"/>
          </a:xfrm>
          <a:prstGeom prst="rect">
            <a:avLst/>
          </a:prstGeom>
        </p:spPr>
        <p:txBody>
          <a:bodyPr vert="horz" lIns="81043" tIns="40522" rIns="81043" bIns="40522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6" y="1535165"/>
            <a:ext cx="11139892" cy="5054400"/>
          </a:xfrm>
          <a:prstGeom prst="rect">
            <a:avLst/>
          </a:prstGeom>
        </p:spPr>
        <p:txBody>
          <a:bodyPr vert="horz" lIns="81043" tIns="40522" rIns="81043" bIns="405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46921" lvl="1" indent="-246921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08107" lvl="2" indent="-246921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Calibri" panose="020F0502020204030204" pitchFamily="34" charset="0"/>
              <a:buChar char="–"/>
            </a:pPr>
            <a:r>
              <a:rPr lang="en-US" dirty="0"/>
              <a:t>Third level</a:t>
            </a:r>
          </a:p>
          <a:p>
            <a:pPr marL="560146" lvl="3" indent="-205768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Calibri" panose="020F0502020204030204" pitchFamily="34" charset="0"/>
              <a:buChar char="◦"/>
            </a:pPr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254" y="802495"/>
            <a:ext cx="1075863" cy="36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253" y="237738"/>
            <a:ext cx="1080707" cy="482161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9447566" y="6492880"/>
            <a:ext cx="2744437" cy="365125"/>
          </a:xfrm>
          <a:prstGeom prst="rect">
            <a:avLst/>
          </a:prstGeom>
        </p:spPr>
        <p:txBody>
          <a:bodyPr vert="horz" lIns="65848" tIns="32924" rIns="65848" bIns="32924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84F883-9912-4EFB-8404-2A825476CACA}" type="slidenum">
              <a:rPr lang="fr-BE" sz="894" i="1" smtClean="0"/>
              <a:pPr/>
              <a:t>‹Nr.›</a:t>
            </a:fld>
            <a:endParaRPr lang="fr-BE" sz="975" i="1" dirty="0"/>
          </a:p>
        </p:txBody>
      </p:sp>
    </p:spTree>
    <p:extLst>
      <p:ext uri="{BB962C8B-B14F-4D97-AF65-F5344CB8AC3E}">
        <p14:creationId xmlns:p14="http://schemas.microsoft.com/office/powerpoint/2010/main" val="76914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</p:sldLayoutIdLst>
  <p:hf hdr="0" ftr="0" dt="0"/>
  <p:txStyles>
    <p:titleStyle>
      <a:lvl1pPr algn="l" defTabSz="658457" rtl="0" eaLnBrk="1" latinLnBrk="0" hangingPunct="1">
        <a:lnSpc>
          <a:spcPct val="8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58457" rtl="0" eaLnBrk="1" latinLnBrk="0" hangingPunct="1">
        <a:lnSpc>
          <a:spcPct val="100000"/>
        </a:lnSpc>
        <a:spcBef>
          <a:spcPts val="0"/>
        </a:spcBef>
        <a:spcAft>
          <a:spcPts val="865"/>
        </a:spcAft>
        <a:buClr>
          <a:schemeClr val="accent2"/>
        </a:buClr>
        <a:buFont typeface="Arial" panose="020B0604020202020204" pitchFamily="34" charset="0"/>
        <a:buNone/>
        <a:defRPr sz="1706" kern="1200">
          <a:solidFill>
            <a:schemeClr val="bg1"/>
          </a:solidFill>
          <a:latin typeface="+mn-lt"/>
          <a:ea typeface="+mn-ea"/>
          <a:cs typeface="+mn-cs"/>
        </a:defRPr>
      </a:lvl1pPr>
      <a:lvl2pPr marL="164614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Arial" panose="020B0604020202020204" pitchFamily="34" charset="0"/>
        <a:buChar char="•"/>
        <a:defRPr lang="en-US" sz="1706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2pPr>
      <a:lvl3pPr marL="325799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Calibri" panose="020F0502020204030204" pitchFamily="34" charset="0"/>
        <a:buChar char="–"/>
        <a:defRPr lang="en-US" sz="1463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3pPr>
      <a:lvl4pPr marL="518992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Calibri" panose="020F0502020204030204" pitchFamily="34" charset="0"/>
        <a:buChar char="◦"/>
        <a:defRPr lang="en-US" sz="1300" kern="1200" dirty="0">
          <a:solidFill>
            <a:schemeClr val="bg1"/>
          </a:solidFill>
          <a:effectLst/>
          <a:latin typeface="+mn-lt"/>
          <a:ea typeface="+mn-ea"/>
          <a:cs typeface="+mn-cs"/>
        </a:defRPr>
      </a:lvl4pPr>
      <a:lvl5pPr marL="1316912" indent="0" algn="l" defTabSz="658457" rtl="0" eaLnBrk="1" latinLnBrk="0" hangingPunct="1">
        <a:lnSpc>
          <a:spcPct val="90000"/>
        </a:lnSpc>
        <a:spcBef>
          <a:spcPts val="360"/>
        </a:spcBef>
        <a:buClr>
          <a:schemeClr val="accent2"/>
        </a:buClr>
        <a:buFont typeface="Arial" panose="020B0604020202020204" pitchFamily="34" charset="0"/>
        <a:buNone/>
        <a:defRPr sz="1300" kern="1200">
          <a:solidFill>
            <a:schemeClr val="bg1"/>
          </a:solidFill>
          <a:latin typeface="+mn-lt"/>
          <a:ea typeface="+mn-ea"/>
          <a:cs typeface="+mn-cs"/>
        </a:defRPr>
      </a:lvl5pPr>
      <a:lvl6pPr marL="1810755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983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69212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98439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9228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8457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87685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16912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46141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75369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04598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33825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 userDrawn="1">
          <p15:clr>
            <a:srgbClr val="F26B43"/>
          </p15:clr>
        </p15:guide>
        <p15:guide id="2" pos="5120" userDrawn="1">
          <p15:clr>
            <a:srgbClr val="F26B43"/>
          </p15:clr>
        </p15:guide>
        <p15:guide id="3" pos="604" userDrawn="1">
          <p15:clr>
            <a:srgbClr val="F26B43"/>
          </p15:clr>
        </p15:guide>
        <p15:guide id="4" orient="horz" pos="388" userDrawn="1">
          <p15:clr>
            <a:srgbClr val="F26B43"/>
          </p15:clr>
        </p15:guide>
        <p15:guide id="5" orient="horz" pos="4579" userDrawn="1">
          <p15:clr>
            <a:srgbClr val="F26B43"/>
          </p15:clr>
        </p15:guide>
        <p15:guide id="6" orient="horz" pos="4968" userDrawn="1">
          <p15:clr>
            <a:srgbClr val="F26B43"/>
          </p15:clr>
        </p15:guide>
        <p15:guide id="7" pos="98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91"/>
          <a:stretch/>
        </p:blipFill>
        <p:spPr bwMode="gray">
          <a:xfrm>
            <a:off x="11326767" y="521641"/>
            <a:ext cx="386868" cy="396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3" y="1535166"/>
            <a:ext cx="11139892" cy="4522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69196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BE" dirty="0"/>
              <a:t>Page </a:t>
            </a:r>
            <a:fld id="{6984F883-9912-4EFB-8404-2A825476CACA}" type="slidenum">
              <a:rPr lang="fr-BE" smtClean="0"/>
              <a:pPr/>
              <a:t>‹Nr.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628112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</p:sldLayoutIdLst>
  <p:transition spd="slow">
    <p:wipe dir="r"/>
  </p:transition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None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452438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Calibri" panose="020F0502020204030204" pitchFamily="34" charset="0"/>
        <a:buChar char="–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720725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Calibri" panose="020F0502020204030204" pitchFamily="34" charset="0"/>
        <a:buChar char="◦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orient="horz" pos="323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4140">
          <p15:clr>
            <a:srgbClr val="F26B43"/>
          </p15:clr>
        </p15:guide>
        <p15:guide id="7" pos="73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cta.com/zero-emissions-knowledge-platform" TargetMode="Externa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ADA959-6156-44E4-B3DC-32AA6775B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5560" y="2852936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CTA 2020 / 2021 / 2021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</a:t>
            </a:fld>
            <a:endParaRPr lang="nl-NL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4981A17-6022-4870-83F7-E965EE6AD2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51450" y="4581128"/>
            <a:ext cx="9889099" cy="1424399"/>
          </a:xfrm>
        </p:spPr>
        <p:txBody>
          <a:bodyPr>
            <a:normAutofit/>
          </a:bodyPr>
          <a:lstStyle/>
          <a:p>
            <a:r>
              <a:rPr lang="en-US" sz="2400" dirty="0"/>
              <a:t>GCA	Patrick Weisskopf</a:t>
            </a:r>
          </a:p>
          <a:p>
            <a:r>
              <a:rPr lang="en-US" sz="2400" dirty="0"/>
              <a:t>ECTA	Evert de Jong</a:t>
            </a:r>
          </a:p>
          <a:p>
            <a:r>
              <a:rPr lang="en-US" sz="2400" dirty="0"/>
              <a:t>ECTA	Estelle Bauer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308572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0</a:t>
            </a:fld>
            <a:endParaRPr lang="nl-NL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7808" y="389593"/>
            <a:ext cx="7668344" cy="1323439"/>
          </a:xfrm>
        </p:spPr>
        <p:txBody>
          <a:bodyPr/>
          <a:lstStyle/>
          <a:p>
            <a:pPr algn="ctr"/>
            <a:r>
              <a:rPr lang="nl-BE" dirty="0"/>
              <a:t>Zero emissions </a:t>
            </a:r>
            <a:br>
              <a:rPr lang="nl-BE" dirty="0"/>
            </a:br>
            <a:r>
              <a:rPr lang="nl-BE" dirty="0"/>
              <a:t>knowledge platform</a:t>
            </a:r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0F8D86A-D4A3-45C3-B8B4-7810AA47B8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1721232"/>
              </p:ext>
            </p:extLst>
          </p:nvPr>
        </p:nvGraphicFramePr>
        <p:xfrm>
          <a:off x="263351" y="1751873"/>
          <a:ext cx="11772801" cy="498143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042282">
                  <a:extLst>
                    <a:ext uri="{9D8B030D-6E8A-4147-A177-3AD203B41FA5}">
                      <a16:colId xmlns:a16="http://schemas.microsoft.com/office/drawing/2014/main" val="1135830378"/>
                    </a:ext>
                  </a:extLst>
                </a:gridCol>
                <a:gridCol w="1868929">
                  <a:extLst>
                    <a:ext uri="{9D8B030D-6E8A-4147-A177-3AD203B41FA5}">
                      <a16:colId xmlns:a16="http://schemas.microsoft.com/office/drawing/2014/main" val="3542224704"/>
                    </a:ext>
                  </a:extLst>
                </a:gridCol>
                <a:gridCol w="2809869">
                  <a:extLst>
                    <a:ext uri="{9D8B030D-6E8A-4147-A177-3AD203B41FA5}">
                      <a16:colId xmlns:a16="http://schemas.microsoft.com/office/drawing/2014/main" val="1569861472"/>
                    </a:ext>
                  </a:extLst>
                </a:gridCol>
                <a:gridCol w="2051721">
                  <a:extLst>
                    <a:ext uri="{9D8B030D-6E8A-4147-A177-3AD203B41FA5}">
                      <a16:colId xmlns:a16="http://schemas.microsoft.com/office/drawing/2014/main" val="2580154417"/>
                    </a:ext>
                  </a:extLst>
                </a:gridCol>
              </a:tblGrid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l-NL" sz="1800" dirty="0">
                          <a:solidFill>
                            <a:srgbClr val="FFFF00"/>
                          </a:solidFill>
                          <a:effectLst/>
                        </a:rPr>
                        <a:t>Phase 1</a:t>
                      </a:r>
                      <a:endParaRPr lang="nl-NL" sz="18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l-NL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l-NL" sz="1800">
                          <a:effectLst/>
                        </a:rPr>
                        <a:t>Status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l-NL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8101854"/>
                  </a:ext>
                </a:extLst>
              </a:tr>
              <a:tr h="3675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1</a:t>
                      </a:r>
                      <a:r>
                        <a:rPr lang="en-US" sz="1800" baseline="30000" dirty="0">
                          <a:effectLst/>
                        </a:rPr>
                        <a:t>st</a:t>
                      </a:r>
                      <a:r>
                        <a:rPr lang="en-US" sz="1800" dirty="0">
                          <a:effectLst/>
                        </a:rPr>
                        <a:t> Brainstorming session with T&amp;RC members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April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Done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14226961"/>
                  </a:ext>
                </a:extLst>
              </a:tr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Board meeting consultancy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May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Done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40554156"/>
                  </a:ext>
                </a:extLst>
              </a:tr>
              <a:tr h="3675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2</a:t>
                      </a:r>
                      <a:r>
                        <a:rPr lang="en-US" sz="1800" baseline="30000">
                          <a:effectLst/>
                        </a:rPr>
                        <a:t>nd</a:t>
                      </a:r>
                      <a:r>
                        <a:rPr lang="en-US" sz="1800">
                          <a:effectLst/>
                        </a:rPr>
                        <a:t> Brainstorming session with T&amp;RC members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May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Done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93812282"/>
                  </a:ext>
                </a:extLst>
              </a:tr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Set Up ECTA Website section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June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Done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97870037"/>
                  </a:ext>
                </a:extLst>
              </a:tr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solidFill>
                            <a:srgbClr val="FFFF00"/>
                          </a:solidFill>
                          <a:effectLst/>
                        </a:rPr>
                        <a:t>Phase 2</a:t>
                      </a:r>
                      <a:endParaRPr lang="nl-NL" sz="18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1244627"/>
                  </a:ext>
                </a:extLst>
              </a:tr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Invite other ECTA members to join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June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Done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Vervaeke, Essers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27368871"/>
                  </a:ext>
                </a:extLst>
              </a:tr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Start publishing 	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2</a:t>
                      </a:r>
                      <a:r>
                        <a:rPr lang="en-US" sz="1800" baseline="30000">
                          <a:effectLst/>
                        </a:rPr>
                        <a:t>nd</a:t>
                      </a:r>
                      <a:r>
                        <a:rPr lang="en-US" sz="1800">
                          <a:effectLst/>
                        </a:rPr>
                        <a:t> half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Started, ongoing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24732099"/>
                  </a:ext>
                </a:extLst>
              </a:tr>
              <a:tr h="3542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Selection of student support via ECTA members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2</a:t>
                      </a:r>
                      <a:r>
                        <a:rPr lang="en-US" sz="1800" baseline="30000">
                          <a:effectLst/>
                        </a:rPr>
                        <a:t>nd</a:t>
                      </a:r>
                      <a:r>
                        <a:rPr lang="en-US" sz="1800">
                          <a:effectLst/>
                        </a:rPr>
                        <a:t> half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Board members support required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20174852"/>
                  </a:ext>
                </a:extLst>
              </a:tr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solidFill>
                            <a:srgbClr val="FFFF00"/>
                          </a:solidFill>
                          <a:effectLst/>
                        </a:rPr>
                        <a:t>Phase 3</a:t>
                      </a:r>
                      <a:endParaRPr lang="nl-NL" sz="18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88452213"/>
                  </a:ext>
                </a:extLst>
              </a:tr>
              <a:tr h="5056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Webpage Introduction ECTA Board, decision on access free/restricted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17</a:t>
                      </a:r>
                      <a:r>
                        <a:rPr lang="en-US" sz="1800" baseline="30000">
                          <a:effectLst/>
                        </a:rPr>
                        <a:t>th</a:t>
                      </a:r>
                      <a:r>
                        <a:rPr lang="en-US" sz="1800">
                          <a:effectLst/>
                        </a:rPr>
                        <a:t> Sep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Board decision required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83221219"/>
                  </a:ext>
                </a:extLst>
              </a:tr>
              <a:tr h="5056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3</a:t>
                      </a:r>
                      <a:r>
                        <a:rPr lang="en-US" sz="1800" baseline="30000" dirty="0">
                          <a:effectLst/>
                        </a:rPr>
                        <a:t>rd</a:t>
                      </a:r>
                      <a:r>
                        <a:rPr lang="en-US" sz="1800" dirty="0">
                          <a:effectLst/>
                        </a:rPr>
                        <a:t> Brainstorming sessions with T&amp;RC members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27 Sep + 6 Oct 2021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planned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30851542"/>
                  </a:ext>
                </a:extLst>
              </a:tr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First public introduction (workshop)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7</a:t>
                      </a:r>
                      <a:r>
                        <a:rPr lang="en-US" sz="1800" baseline="30000">
                          <a:effectLst/>
                        </a:rPr>
                        <a:t>th</a:t>
                      </a:r>
                      <a:r>
                        <a:rPr lang="en-US" sz="1800">
                          <a:effectLst/>
                        </a:rPr>
                        <a:t> Oct 2021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planned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46352937"/>
                  </a:ext>
                </a:extLst>
              </a:tr>
              <a:tr h="2471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Second public introduction (annual meeting)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11093250"/>
                  </a:ext>
                </a:extLst>
              </a:tr>
            </a:tbl>
          </a:graphicData>
        </a:graphic>
      </p:graphicFrame>
      <p:sp>
        <p:nvSpPr>
          <p:cNvPr id="10" name="Arrow: Right 9">
            <a:extLst>
              <a:ext uri="{FF2B5EF4-FFF2-40B4-BE49-F238E27FC236}">
                <a16:creationId xmlns:a16="http://schemas.microsoft.com/office/drawing/2014/main" id="{84913E18-1896-44D9-B0B7-034DF628E9EB}"/>
              </a:ext>
            </a:extLst>
          </p:cNvPr>
          <p:cNvSpPr/>
          <p:nvPr/>
        </p:nvSpPr>
        <p:spPr>
          <a:xfrm rot="10348504">
            <a:off x="9643165" y="4060028"/>
            <a:ext cx="1192584" cy="36512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90096DB4-69DD-44A8-B4B2-652E9F2460C3}"/>
              </a:ext>
            </a:extLst>
          </p:cNvPr>
          <p:cNvSpPr/>
          <p:nvPr/>
        </p:nvSpPr>
        <p:spPr>
          <a:xfrm rot="12410296">
            <a:off x="9471333" y="5377725"/>
            <a:ext cx="1192584" cy="365125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359114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1</a:t>
            </a:fld>
            <a:endParaRPr lang="nl-NL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7808" y="389593"/>
            <a:ext cx="7668344" cy="1323439"/>
          </a:xfrm>
        </p:spPr>
        <p:txBody>
          <a:bodyPr/>
          <a:lstStyle/>
          <a:p>
            <a:pPr algn="ctr"/>
            <a:r>
              <a:rPr lang="nl-BE" dirty="0"/>
              <a:t>Zero emissions </a:t>
            </a:r>
            <a:br>
              <a:rPr lang="nl-BE" dirty="0"/>
            </a:br>
            <a:r>
              <a:rPr lang="nl-BE" dirty="0"/>
              <a:t>knowledge platform</a:t>
            </a:r>
            <a:endParaRPr lang="en-US" dirty="0"/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5E272F3A-E99B-476C-AF8B-0E96CAF9DEAD}"/>
              </a:ext>
            </a:extLst>
          </p:cNvPr>
          <p:cNvSpPr txBox="1"/>
          <p:nvPr/>
        </p:nvSpPr>
        <p:spPr>
          <a:xfrm>
            <a:off x="399100" y="2332056"/>
            <a:ext cx="11665296" cy="1270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AT" sz="2000" b="1" u="sng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en-US" sz="2000" b="1" u="sng" spc="25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’s</a:t>
            </a:r>
            <a:r>
              <a:rPr lang="en-US" sz="2000" b="1" u="sng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av</a:t>
            </a:r>
            <a:r>
              <a:rPr lang="en-US" sz="2000" b="1" u="sng" spc="25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 a look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2000" b="1" u="sng" spc="25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www.ecta.com</a:t>
            </a:r>
            <a:r>
              <a:rPr lang="en-US" sz="2000" spc="25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/zero-emissions-knowledge-platform</a:t>
            </a:r>
            <a:endParaRPr lang="en-US" sz="2000" b="1" u="sng" spc="25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72395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2</a:t>
            </a:fld>
            <a:endParaRPr lang="nl-NL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7808" y="389593"/>
            <a:ext cx="7668344" cy="1323439"/>
          </a:xfrm>
        </p:spPr>
        <p:txBody>
          <a:bodyPr/>
          <a:lstStyle/>
          <a:p>
            <a:pPr algn="ctr"/>
            <a:r>
              <a:rPr lang="nl-BE" dirty="0"/>
              <a:t>Zero emissions </a:t>
            </a:r>
            <a:br>
              <a:rPr lang="nl-BE" dirty="0"/>
            </a:br>
            <a:r>
              <a:rPr lang="nl-BE" dirty="0"/>
              <a:t>knowledge platform</a:t>
            </a:r>
            <a:endParaRPr lang="en-US" dirty="0"/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5E272F3A-E99B-476C-AF8B-0E96CAF9DEAD}"/>
              </a:ext>
            </a:extLst>
          </p:cNvPr>
          <p:cNvSpPr txBox="1"/>
          <p:nvPr/>
        </p:nvSpPr>
        <p:spPr>
          <a:xfrm>
            <a:off x="388765" y="2636912"/>
            <a:ext cx="10675787" cy="1591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400" b="1" u="sng" spc="25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essibility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2400" spc="25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3200" spc="25" dirty="0">
                <a:solidFill>
                  <a:srgbClr val="0066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rrently for ECTA RC members only</a:t>
            </a:r>
            <a:endParaRPr lang="en-US" sz="3200" spc="25" dirty="0">
              <a:solidFill>
                <a:srgbClr val="0066FF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7549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ADA959-6156-44E4-B3DC-32AA6775B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688" y="692697"/>
            <a:ext cx="8784976" cy="720080"/>
          </a:xfrm>
        </p:spPr>
        <p:txBody>
          <a:bodyPr/>
          <a:lstStyle/>
          <a:p>
            <a:pPr algn="ctr"/>
            <a:r>
              <a:rPr lang="nl-BE" dirty="0"/>
              <a:t>SQAS 2022 RC I and II templates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3</a:t>
            </a:fld>
            <a:endParaRPr lang="nl-N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1F7FF4-8F18-478F-9062-E2B2D52EA1C0}"/>
              </a:ext>
            </a:extLst>
          </p:cNvPr>
          <p:cNvSpPr txBox="1"/>
          <p:nvPr/>
        </p:nvSpPr>
        <p:spPr>
          <a:xfrm>
            <a:off x="573765" y="1628800"/>
            <a:ext cx="10972800" cy="2862322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Backgroun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ECTA RC Templates, Levels I and II in SQAS 2019 </a:t>
            </a:r>
            <a:br>
              <a:rPr lang="nl-NL" sz="2000" dirty="0"/>
            </a:br>
            <a:r>
              <a:rPr lang="nl-NL" sz="2000" dirty="0"/>
              <a:t>Modules Core/Transport Service/Warehouse/Cleaning Stations</a:t>
            </a:r>
            <a:br>
              <a:rPr lang="nl-NL" sz="2000" dirty="0"/>
            </a:br>
            <a:r>
              <a:rPr lang="nl-NL" sz="2000" dirty="0"/>
              <a:t>Templates amended in 2019 by ECTA’s T&amp;RC Committee, further amended and agreed for </a:t>
            </a:r>
            <a:br>
              <a:rPr lang="nl-NL" sz="2000" dirty="0"/>
            </a:br>
            <a:r>
              <a:rPr lang="nl-NL" sz="2000" dirty="0"/>
              <a:t>Core and TS modules with Cefic’s SQAS and RC Manag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b="1" dirty="0"/>
              <a:t>Linked to the ECTA RC Program:</a:t>
            </a:r>
            <a:br>
              <a:rPr lang="nl-NL" sz="2000" b="1" dirty="0"/>
            </a:br>
            <a:r>
              <a:rPr lang="nl-NL" sz="2000" b="1" dirty="0"/>
              <a:t>       Level I      Positive scores are the Entry Requirement for acceptance in the ECTA RC Program</a:t>
            </a:r>
            <a:br>
              <a:rPr lang="nl-NL" sz="2000" b="1" dirty="0"/>
            </a:br>
            <a:r>
              <a:rPr lang="nl-NL" sz="2000" b="1" dirty="0"/>
              <a:t>       Level II     Negatively scored questions must be followed up in, improvement actions to be</a:t>
            </a:r>
            <a:br>
              <a:rPr lang="nl-NL" sz="2000" b="1" dirty="0"/>
            </a:br>
            <a:r>
              <a:rPr lang="nl-NL" sz="2000" b="1" dirty="0"/>
              <a:t>                         defined in the ECTA RC Annual Improvement Plan sent in by the company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648736-1F6F-4556-98A6-907181010B02}"/>
              </a:ext>
            </a:extLst>
          </p:cNvPr>
          <p:cNvSpPr txBox="1"/>
          <p:nvPr/>
        </p:nvSpPr>
        <p:spPr>
          <a:xfrm>
            <a:off x="573765" y="4753073"/>
            <a:ext cx="10972800" cy="1938992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SQAS 2022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ECTA RC Templates, Levels I and II to be amended by ECTA’s T&amp;RC Committee and Cefic’s SQAS and RC Managers (Q4-2021, Q1-202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Expected Key Changes:</a:t>
            </a:r>
            <a:br>
              <a:rPr lang="nl-NL" sz="2000" dirty="0"/>
            </a:br>
            <a:r>
              <a:rPr lang="nl-NL" sz="2000" dirty="0"/>
              <a:t>         Emission Questions to be added in the Level II template</a:t>
            </a:r>
            <a:br>
              <a:rPr lang="nl-NL" sz="2000" dirty="0"/>
            </a:br>
            <a:r>
              <a:rPr lang="nl-NL" sz="2000" dirty="0"/>
              <a:t>         OCS Questions to be added in the Level I template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1E2C5162-701D-44DE-A695-0018742F1BCF}"/>
              </a:ext>
            </a:extLst>
          </p:cNvPr>
          <p:cNvCxnSpPr>
            <a:cxnSpLocks/>
          </p:cNvCxnSpPr>
          <p:nvPr/>
        </p:nvCxnSpPr>
        <p:spPr>
          <a:xfrm flipV="1">
            <a:off x="6960096" y="3693741"/>
            <a:ext cx="4104456" cy="2797007"/>
          </a:xfrm>
          <a:prstGeom prst="bentConnector3">
            <a:avLst>
              <a:gd name="adj1" fmla="val 121609"/>
            </a:avLst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6497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ADA959-6156-44E4-B3DC-32AA6775B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9280" y="692697"/>
            <a:ext cx="8249368" cy="720080"/>
          </a:xfrm>
        </p:spPr>
        <p:txBody>
          <a:bodyPr/>
          <a:lstStyle/>
          <a:p>
            <a:pPr algn="ctr"/>
            <a:r>
              <a:rPr lang="nl-BE" dirty="0"/>
              <a:t>ecta RC Kpi Forms for 2021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4</a:t>
            </a:fld>
            <a:endParaRPr lang="nl-N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000000-0008-0000-0000-00001C040000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59896" y="2898775"/>
            <a:ext cx="2127384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704" y="2960688"/>
            <a:ext cx="1410870" cy="46831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09072F1-1AF3-40AA-B2DB-4F44327CD38B}"/>
              </a:ext>
            </a:extLst>
          </p:cNvPr>
          <p:cNvSpPr txBox="1"/>
          <p:nvPr/>
        </p:nvSpPr>
        <p:spPr>
          <a:xfrm>
            <a:off x="3174636" y="4221088"/>
            <a:ext cx="609790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nl-NL" sz="2400" b="1" i="0" u="none" strike="noStrike" dirty="0">
                <a:solidFill>
                  <a:srgbClr val="00B050"/>
                </a:solidFill>
                <a:effectLst/>
                <a:latin typeface="Calibri" panose="020F0502020204030204" pitchFamily="34" charset="0"/>
              </a:rPr>
              <a:t>Draft 2021 KPI FORM – TRANSPORT,</a:t>
            </a:r>
          </a:p>
          <a:p>
            <a:pPr algn="ctr" fontAlgn="ctr"/>
            <a:endParaRPr lang="nl-NL" sz="2400" b="1" i="0" u="none" strike="noStrike" dirty="0">
              <a:solidFill>
                <a:srgbClr val="00B050"/>
              </a:solidFill>
              <a:effectLst/>
              <a:latin typeface="Calibri" panose="020F0502020204030204" pitchFamily="34" charset="0"/>
            </a:endParaRPr>
          </a:p>
          <a:p>
            <a:pPr algn="ctr" fontAlgn="ctr"/>
            <a:r>
              <a:rPr lang="nl-NL" sz="2400" b="1" dirty="0">
                <a:solidFill>
                  <a:srgbClr val="00B050"/>
                </a:solidFill>
                <a:latin typeface="Calibri" panose="020F0502020204030204" pitchFamily="34" charset="0"/>
              </a:rPr>
              <a:t>What you can expect</a:t>
            </a:r>
            <a:endParaRPr lang="nl-NL" sz="2400" b="1" i="0" u="none" strike="noStrike" dirty="0">
              <a:solidFill>
                <a:srgbClr val="00B050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8428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2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2063552" y="2843322"/>
            <a:ext cx="8240024" cy="2554545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endParaRPr lang="nl-NL" sz="28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800" dirty="0"/>
              <a:t>2020 RC Data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800" dirty="0"/>
              <a:t>The ECTA Zero Emissions Knowledge Platfor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800" dirty="0"/>
              <a:t>SQAS 2022 RC I and II templat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800" dirty="0"/>
              <a:t>ECTA RC KPI Forms for 2021</a:t>
            </a:r>
          </a:p>
          <a:p>
            <a:pPr marL="457200" indent="-457200">
              <a:buAutoNum type="arabicPeriod"/>
            </a:pPr>
            <a:endParaRPr lang="nl-NL" sz="2000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CTA 2020 / 2021 / 2022</a:t>
            </a:r>
            <a:endParaRPr lang="en-US" dirty="0"/>
          </a:p>
        </p:txBody>
      </p:sp>
      <p:pic>
        <p:nvPicPr>
          <p:cNvPr id="9" name="Picture 13" descr="T:\SUSTAINABILITY\2 - LOGISTICS\TRAPANI Victor\1. SQAS\SQAS LOGO\New blue logo\logo_SQAS_new_blue_and_darkblue.jpg.jpg">
            <a:extLst>
              <a:ext uri="{FF2B5EF4-FFF2-40B4-BE49-F238E27FC236}">
                <a16:creationId xmlns:a16="http://schemas.microsoft.com/office/drawing/2014/main" id="{7853917B-CC9D-4B3E-8796-EB8431DDC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3576" y="1454103"/>
            <a:ext cx="1878013" cy="132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8492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3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593711" y="2135255"/>
            <a:ext cx="10972800" cy="3477875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u="sng" dirty="0"/>
              <a:t>Mid-September</a:t>
            </a:r>
            <a:r>
              <a:rPr lang="nl-NL" sz="2000" dirty="0"/>
              <a:t> status of reports sent i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40% in ti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40% late (from a little to very much too lat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20% still missing (currently stil 5 out of 58 still missing</a:t>
            </a:r>
          </a:p>
          <a:p>
            <a:endParaRPr lang="nl-NL" sz="2000" dirty="0"/>
          </a:p>
          <a:p>
            <a:r>
              <a:rPr lang="nl-NL" sz="2000" dirty="0"/>
              <a:t>Reason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Not enough atten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Not enough import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Lack of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MOC missing / Company staff changes</a:t>
            </a:r>
          </a:p>
          <a:p>
            <a:endParaRPr lang="nl-NL" sz="2000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2020 RC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349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4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594792" y="1843950"/>
            <a:ext cx="10972800" cy="4093428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Knowing tha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Some ECTA members are RC members in name only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dirty="0"/>
              <a:t>Some ECTA members are consistently late / not sending in the required KPI report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b="1" dirty="0"/>
              <a:t>Knowing that some Chemical Producers look at the ECTA RC Member list to select who they invite to tender,</a:t>
            </a:r>
          </a:p>
          <a:p>
            <a:endParaRPr lang="nl-NL" sz="2000" b="1" dirty="0"/>
          </a:p>
          <a:p>
            <a:r>
              <a:rPr lang="nl-NL" sz="2000" b="1" dirty="0"/>
              <a:t>We have decided:</a:t>
            </a:r>
          </a:p>
          <a:p>
            <a:endParaRPr lang="nl-NL" sz="2000" b="1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b="1" dirty="0">
                <a:solidFill>
                  <a:srgbClr val="0066FF"/>
                </a:solidFill>
              </a:rPr>
              <a:t>Per end February 2022 ECTA will issue new RC Attestations with a validity of 12 month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b="1" dirty="0">
                <a:solidFill>
                  <a:srgbClr val="0066FF"/>
                </a:solidFill>
              </a:rPr>
              <a:t>The RC Attestations will be prepared and issued only to ECTA RC Members that have sent in their KPI Repor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b="1" dirty="0">
                <a:solidFill>
                  <a:srgbClr val="0066FF"/>
                </a:solidFill>
              </a:rPr>
              <a:t>The ECTA Website will list only the names of companies that have been issued valid RC Attestations</a:t>
            </a:r>
          </a:p>
          <a:p>
            <a:endParaRPr lang="nl-NL" sz="2000" b="1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2020 rc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4704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ADA959-6156-44E4-B3DC-32AA6775B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9280" y="692696"/>
            <a:ext cx="6480720" cy="707886"/>
          </a:xfrm>
        </p:spPr>
        <p:txBody>
          <a:bodyPr/>
          <a:lstStyle/>
          <a:p>
            <a:pPr algn="ctr"/>
            <a:r>
              <a:rPr lang="nl-BE" dirty="0"/>
              <a:t>2020 RC data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5</a:t>
            </a:fld>
            <a:endParaRPr lang="nl-NL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E560036-EBD8-4F7B-B51E-B0EFBAC4CD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3530277"/>
              </p:ext>
            </p:extLst>
          </p:nvPr>
        </p:nvGraphicFramePr>
        <p:xfrm>
          <a:off x="5388833" y="1844824"/>
          <a:ext cx="6192688" cy="4431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99B6089-16C8-4AD7-90C0-1F7A0AF8D1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6671394"/>
              </p:ext>
            </p:extLst>
          </p:nvPr>
        </p:nvGraphicFramePr>
        <p:xfrm>
          <a:off x="16024" y="2492896"/>
          <a:ext cx="3843460" cy="24482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0865">
                  <a:extLst>
                    <a:ext uri="{9D8B030D-6E8A-4147-A177-3AD203B41FA5}">
                      <a16:colId xmlns:a16="http://schemas.microsoft.com/office/drawing/2014/main" val="689021986"/>
                    </a:ext>
                  </a:extLst>
                </a:gridCol>
                <a:gridCol w="960865">
                  <a:extLst>
                    <a:ext uri="{9D8B030D-6E8A-4147-A177-3AD203B41FA5}">
                      <a16:colId xmlns:a16="http://schemas.microsoft.com/office/drawing/2014/main" val="2695936549"/>
                    </a:ext>
                  </a:extLst>
                </a:gridCol>
                <a:gridCol w="960865">
                  <a:extLst>
                    <a:ext uri="{9D8B030D-6E8A-4147-A177-3AD203B41FA5}">
                      <a16:colId xmlns:a16="http://schemas.microsoft.com/office/drawing/2014/main" val="4268463931"/>
                    </a:ext>
                  </a:extLst>
                </a:gridCol>
                <a:gridCol w="960865">
                  <a:extLst>
                    <a:ext uri="{9D8B030D-6E8A-4147-A177-3AD203B41FA5}">
                      <a16:colId xmlns:a16="http://schemas.microsoft.com/office/drawing/2014/main" val="1997706106"/>
                    </a:ext>
                  </a:extLst>
                </a:gridCol>
              </a:tblGrid>
              <a:tr h="408045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Total number of Incidents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7196735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02234389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Transit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Loading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Unloading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26226961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18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409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167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327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04090476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19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571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23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491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1841406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20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365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157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310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152062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4711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ADA959-6156-44E4-B3DC-32AA6775B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9280" y="692696"/>
            <a:ext cx="6480720" cy="707886"/>
          </a:xfrm>
        </p:spPr>
        <p:txBody>
          <a:bodyPr/>
          <a:lstStyle/>
          <a:p>
            <a:pPr algn="ctr"/>
            <a:r>
              <a:rPr lang="nl-BE" dirty="0"/>
              <a:t>2020 RC data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6</a:t>
            </a:fld>
            <a:endParaRPr lang="nl-NL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3D24CB8-3427-47DE-841A-90CFEF2E9A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270926"/>
              </p:ext>
            </p:extLst>
          </p:nvPr>
        </p:nvGraphicFramePr>
        <p:xfrm>
          <a:off x="0" y="2564904"/>
          <a:ext cx="3935760" cy="24482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3940">
                  <a:extLst>
                    <a:ext uri="{9D8B030D-6E8A-4147-A177-3AD203B41FA5}">
                      <a16:colId xmlns:a16="http://schemas.microsoft.com/office/drawing/2014/main" val="2930993142"/>
                    </a:ext>
                  </a:extLst>
                </a:gridCol>
                <a:gridCol w="983940">
                  <a:extLst>
                    <a:ext uri="{9D8B030D-6E8A-4147-A177-3AD203B41FA5}">
                      <a16:colId xmlns:a16="http://schemas.microsoft.com/office/drawing/2014/main" val="1539593012"/>
                    </a:ext>
                  </a:extLst>
                </a:gridCol>
                <a:gridCol w="983940">
                  <a:extLst>
                    <a:ext uri="{9D8B030D-6E8A-4147-A177-3AD203B41FA5}">
                      <a16:colId xmlns:a16="http://schemas.microsoft.com/office/drawing/2014/main" val="3605956505"/>
                    </a:ext>
                  </a:extLst>
                </a:gridCol>
                <a:gridCol w="983940">
                  <a:extLst>
                    <a:ext uri="{9D8B030D-6E8A-4147-A177-3AD203B41FA5}">
                      <a16:colId xmlns:a16="http://schemas.microsoft.com/office/drawing/2014/main" val="1956317003"/>
                    </a:ext>
                  </a:extLst>
                </a:gridCol>
              </a:tblGrid>
              <a:tr h="408045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Number of Injury Incidents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7473372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0525828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Transit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Loading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Unloading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563168978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18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78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56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106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250571711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19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64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51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114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11975885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20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42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36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74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92702752"/>
                  </a:ext>
                </a:extLst>
              </a:tr>
            </a:tbl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AFDD8C2-97DF-4A70-B4EE-1DE9230452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1423636"/>
              </p:ext>
            </p:extLst>
          </p:nvPr>
        </p:nvGraphicFramePr>
        <p:xfrm>
          <a:off x="4439816" y="2057400"/>
          <a:ext cx="6840760" cy="396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522607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ADA959-6156-44E4-B3DC-32AA6775B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9280" y="692696"/>
            <a:ext cx="6480720" cy="707886"/>
          </a:xfrm>
        </p:spPr>
        <p:txBody>
          <a:bodyPr/>
          <a:lstStyle/>
          <a:p>
            <a:pPr algn="ctr"/>
            <a:r>
              <a:rPr lang="nl-BE" dirty="0"/>
              <a:t>2020 RC data</a:t>
            </a:r>
            <a:endParaRPr lang="en-US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7</a:t>
            </a:fld>
            <a:endParaRPr lang="nl-NL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AA73A16-8043-4EBA-85FC-A27209C89B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436375"/>
              </p:ext>
            </p:extLst>
          </p:nvPr>
        </p:nvGraphicFramePr>
        <p:xfrm>
          <a:off x="2568" y="2492896"/>
          <a:ext cx="3933192" cy="25922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3298">
                  <a:extLst>
                    <a:ext uri="{9D8B030D-6E8A-4147-A177-3AD203B41FA5}">
                      <a16:colId xmlns:a16="http://schemas.microsoft.com/office/drawing/2014/main" val="3743782475"/>
                    </a:ext>
                  </a:extLst>
                </a:gridCol>
                <a:gridCol w="983298">
                  <a:extLst>
                    <a:ext uri="{9D8B030D-6E8A-4147-A177-3AD203B41FA5}">
                      <a16:colId xmlns:a16="http://schemas.microsoft.com/office/drawing/2014/main" val="315082081"/>
                    </a:ext>
                  </a:extLst>
                </a:gridCol>
                <a:gridCol w="983298">
                  <a:extLst>
                    <a:ext uri="{9D8B030D-6E8A-4147-A177-3AD203B41FA5}">
                      <a16:colId xmlns:a16="http://schemas.microsoft.com/office/drawing/2014/main" val="3167593579"/>
                    </a:ext>
                  </a:extLst>
                </a:gridCol>
                <a:gridCol w="983298">
                  <a:extLst>
                    <a:ext uri="{9D8B030D-6E8A-4147-A177-3AD203B41FA5}">
                      <a16:colId xmlns:a16="http://schemas.microsoft.com/office/drawing/2014/main" val="1626096901"/>
                    </a:ext>
                  </a:extLst>
                </a:gridCol>
              </a:tblGrid>
              <a:tr h="324036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TRUCK TYPES 2016 - 2020 (%)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765958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EURO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EURO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ALT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3874879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 fontAlgn="b"/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&lt; V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V/VI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FUEL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647350509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16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18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82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0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577425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17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15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85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0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5717641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18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7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92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1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72743218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19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3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96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1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13575570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2020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3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>
                          <a:effectLst/>
                        </a:rPr>
                        <a:t>96</a:t>
                      </a:r>
                      <a:endParaRPr lang="nl-NL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600" u="none" strike="noStrike" dirty="0">
                          <a:effectLst/>
                        </a:rPr>
                        <a:t>1</a:t>
                      </a:r>
                      <a:endParaRPr lang="nl-NL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428177318"/>
                  </a:ext>
                </a:extLst>
              </a:tr>
            </a:tbl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7934BD3-ED07-4E5D-B6C9-622D84873D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6544521"/>
              </p:ext>
            </p:extLst>
          </p:nvPr>
        </p:nvGraphicFramePr>
        <p:xfrm>
          <a:off x="4079776" y="1379486"/>
          <a:ext cx="6840760" cy="5145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4535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8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263352" y="2075931"/>
            <a:ext cx="11665296" cy="3873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b="1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ckground:</a:t>
            </a:r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uring the ECTA Board Meeting of February 26, 2021, the Board expressed their wish for a new Workgroup on Green Deal and Zero emissions. The objective of this workgroup is not to publish an ECTA Guideline, but to form a self-managed expert platform that can exchange expertise and best practices, discuss zero emission topics and publish information on behalf of the ECTA.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b="1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ope: 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emical Logistics with zero emission best practices related to 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PI’s and emission calculation tools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ternative fuels and technologies (e-trucks/hydrogen/…)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novations from start-up’s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b="1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ives</a:t>
            </a:r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the ECTA ZERO EMISSION PLATFORM TEAM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are best practices and learn form each other via a special section on ECTA’s website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US" sz="1800" b="0" i="0" spc="25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ate a community using social media (e.g. a LinkedIn Group)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4D786D5-34C5-418D-873A-F629B64FB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5576" y="548966"/>
            <a:ext cx="7416824" cy="1323439"/>
          </a:xfrm>
        </p:spPr>
        <p:txBody>
          <a:bodyPr/>
          <a:lstStyle/>
          <a:p>
            <a:pPr algn="ctr"/>
            <a:r>
              <a:rPr lang="en-US" dirty="0"/>
              <a:t>zero emissions knowledge </a:t>
            </a:r>
            <a:br>
              <a:rPr lang="en-US" dirty="0"/>
            </a:br>
            <a:r>
              <a:rPr lang="en-US" dirty="0"/>
              <a:t>platform</a:t>
            </a:r>
          </a:p>
        </p:txBody>
      </p:sp>
    </p:spTree>
    <p:extLst>
      <p:ext uri="{BB962C8B-B14F-4D97-AF65-F5344CB8AC3E}">
        <p14:creationId xmlns:p14="http://schemas.microsoft.com/office/powerpoint/2010/main" val="23776690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9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7176120" y="2348880"/>
            <a:ext cx="5148064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tform Stru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5B5E4F-5423-4C60-8A78-1F7FC77B73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813319"/>
            <a:ext cx="10166920" cy="482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899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fp0_jER62UDy6h_qv3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0CNEPCSua_8.B3U_VP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nn0GyWTp6lCdwB5rUo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fp0_jER62UDy6h_qv33g"/>
</p:tagLst>
</file>

<file path=ppt/theme/theme1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G Powerpoint presentatio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4EDFF"/>
        </a:solidFill>
        <a:ln w="57150">
          <a:solidFill>
            <a:srgbClr val="FF0000"/>
          </a:solidFill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efic Gree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SG Powerpoint presentatio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4EDFF"/>
        </a:solidFill>
        <a:ln w="57150">
          <a:solidFill>
            <a:srgbClr val="FF0000"/>
          </a:solidFill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efic Gree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41</Words>
  <Application>Microsoft Office PowerPoint</Application>
  <PresentationFormat>Breitbild</PresentationFormat>
  <Paragraphs>200</Paragraphs>
  <Slides>1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3" baseType="lpstr">
      <vt:lpstr>Arial</vt:lpstr>
      <vt:lpstr>Calibri</vt:lpstr>
      <vt:lpstr>Wingdings</vt:lpstr>
      <vt:lpstr>Office-thema</vt:lpstr>
      <vt:lpstr>SG Powerpoint presentation</vt:lpstr>
      <vt:lpstr>1_Cefic Green</vt:lpstr>
      <vt:lpstr>1_SG Powerpoint presentation</vt:lpstr>
      <vt:lpstr>2_Cefic Green</vt:lpstr>
      <vt:lpstr>think-cell Folie</vt:lpstr>
      <vt:lpstr>ECTA 2020 / 2021 / 2021</vt:lpstr>
      <vt:lpstr>ECTA 2020 / 2021 / 2022</vt:lpstr>
      <vt:lpstr>2020 RC data</vt:lpstr>
      <vt:lpstr>2020 rc data</vt:lpstr>
      <vt:lpstr>2020 RC data</vt:lpstr>
      <vt:lpstr>2020 RC data</vt:lpstr>
      <vt:lpstr>2020 RC data</vt:lpstr>
      <vt:lpstr>zero emissions knowledge  platform</vt:lpstr>
      <vt:lpstr>PowerPoint-Präsentation</vt:lpstr>
      <vt:lpstr>Zero emissions  knowledge platform</vt:lpstr>
      <vt:lpstr>Zero emissions  knowledge platform</vt:lpstr>
      <vt:lpstr>Zero emissions  knowledge platform</vt:lpstr>
      <vt:lpstr>SQAS 2022 RC I and II templates</vt:lpstr>
      <vt:lpstr>ecta RC Kpi Forms for 202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peter.devos@ecta.com</dc:creator>
  <cp:lastModifiedBy>Estelle Bauer</cp:lastModifiedBy>
  <cp:revision>1202</cp:revision>
  <cp:lastPrinted>2019-09-18T08:33:52Z</cp:lastPrinted>
  <dcterms:created xsi:type="dcterms:W3CDTF">2015-11-24T19:27:24Z</dcterms:created>
  <dcterms:modified xsi:type="dcterms:W3CDTF">2021-10-07T08:29:49Z</dcterms:modified>
</cp:coreProperties>
</file>